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sldIdLst>
    <p:sldId id="256" r:id="rId3"/>
  </p:sldIdLst>
  <p:sldSz cx="12192000" cy="6858000"/>
  <p:notesSz cx="6858000" cy="9144000"/>
  <p:custDataLst>
    <p:tags r:id="rId8"/>
  </p:custDataLst>
  <p:defaultTextStyle>
    <a:defPPr>
      <a:defRPr lang="x-non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F50"/>
    <a:srgbClr val="C85354"/>
    <a:srgbClr val="DFA146"/>
    <a:srgbClr val="1F5381"/>
    <a:srgbClr val="66B7C4"/>
    <a:srgbClr val="38699E"/>
    <a:srgbClr val="6FC2D0"/>
    <a:srgbClr val="F8A734"/>
    <a:srgbClr val="B60000"/>
    <a:srgbClr val="FAB5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24"/>
    <p:restoredTop sz="96327" autoAdjust="0"/>
  </p:normalViewPr>
  <p:slideViewPr>
    <p:cSldViewPr snapToGrid="0" snapToObjects="1">
      <p:cViewPr varScale="1">
        <p:scale>
          <a:sx n="128" d="100"/>
          <a:sy n="128" d="100"/>
        </p:scale>
        <p:origin x="728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2.xml"/><Relationship Id="rId7" Type="http://schemas.openxmlformats.org/officeDocument/2006/relationships/tableStyles" Target="tableStyles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7AC202-ACEC-4B71-A7FB-B30F90077DCB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12A4A8-8E44-4C5F-B8BC-379623AB2FD2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文本占位符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lvl="0" algn="ctr">
              <a:defRPr sz="6000"/>
            </a:lvl1pPr>
          </a:lstStyle>
          <a:p>
            <a:r>
              <a:rPr lang="en-US"/>
              <a:t>Click to edit Master title style</a:t>
            </a:r>
            <a:endParaRPr lang="zh-C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lvl="0" indent="0" algn="ctr">
              <a:buNone/>
              <a:defRPr sz="2400"/>
            </a:lvl1pPr>
            <a:lvl2pPr marL="457200" lvl="1" indent="0" algn="ctr">
              <a:buNone/>
              <a:defRPr sz="2000"/>
            </a:lvl2pPr>
            <a:lvl3pPr marL="914400" lvl="2" indent="0" algn="ctr">
              <a:buNone/>
              <a:defRPr sz="1800"/>
            </a:lvl3pPr>
            <a:lvl4pPr marL="1371600" lvl="3" indent="0" algn="ctr">
              <a:buNone/>
              <a:defRPr sz="1600"/>
            </a:lvl4pPr>
            <a:lvl5pPr marL="1828800" lvl="4" indent="0" algn="ctr">
              <a:buNone/>
              <a:defRPr sz="1600"/>
            </a:lvl5pPr>
            <a:lvl6pPr marL="2286000" lvl="5" indent="0" algn="ctr">
              <a:buNone/>
              <a:defRPr sz="1600"/>
            </a:lvl6pPr>
            <a:lvl7pPr marL="2743200" lvl="6" indent="0" algn="ctr">
              <a:buNone/>
              <a:defRPr sz="1600"/>
            </a:lvl7pPr>
            <a:lvl8pPr marL="3200400" lvl="7" indent="0" algn="ctr">
              <a:buNone/>
              <a:defRPr sz="1600"/>
            </a:lvl8pPr>
            <a:lvl9pPr marL="3657600" lvl="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zh-CN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747C7607-1745-46DF-B5C0-FFC9798C548A}" type="datetimeFigureOut">
              <a:rPr lang="zh-CN" altLang="en-US"/>
            </a:fld>
            <a:endParaRPr lang="zh-CN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endParaRPr lang="zh-C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215CD852-5AB6-4AE7-B2DA-5662F21F1EE8}" type="slidenum">
              <a:rPr lang="zh-CN"/>
            </a:fld>
            <a:endParaRPr lang="zh-CN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zh-C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zh-CN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95AA2078-3C97-4077-83E3-0E57ED730050}" type="datetimeFigureOut">
              <a:rPr lang="zh-CN" altLang="en-US"/>
            </a:fld>
            <a:endParaRPr lang="zh-CN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endParaRPr lang="zh-C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36AA9180-42AB-4E33-876E-C45E1BEBFC7F}" type="slidenum">
              <a:rPr lang="zh-CN"/>
            </a:fld>
            <a:endParaRPr lang="zh-CN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zh-C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zh-CN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750594A8-6834-4987-A2B8-AE3F3E831A7B}" type="datetimeFigureOut">
              <a:rPr lang="zh-CN" altLang="en-US"/>
            </a:fld>
            <a:endParaRPr lang="zh-CN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endParaRPr lang="zh-C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7317C062-D410-40C7-B4CE-BEA37C34D445}" type="slidenum">
              <a:rPr lang="zh-CN"/>
            </a:fld>
            <a:endParaRPr lang="zh-CN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zh-C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zh-CN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AC58C7DC-8FC3-47CF-A955-E7C8DBAFB25B}" type="datetimeFigureOut">
              <a:rPr lang="zh-CN" altLang="en-US"/>
            </a:fld>
            <a:endParaRPr lang="zh-CN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endParaRPr lang="zh-C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CC2C7DDB-44FA-47E6-AA3B-D3F2B1B7ADD1}" type="slidenum">
              <a:rPr lang="zh-CN"/>
            </a:fld>
            <a:endParaRPr lang="zh-CN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 lvl="0">
              <a:defRPr sz="6000"/>
            </a:lvl1pPr>
          </a:lstStyle>
          <a:p>
            <a:r>
              <a:rPr lang="en-US"/>
              <a:t>Click to edit Master title style</a:t>
            </a:r>
            <a:endParaRPr lang="zh-C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lv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lvl="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lvl="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lvl="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lvl="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lvl="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lvl="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lvl="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lvl="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9794C229-6530-43F6-A39C-D788273DEB06}" type="datetimeFigureOut">
              <a:rPr lang="zh-CN" altLang="en-US"/>
            </a:fld>
            <a:endParaRPr lang="zh-CN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endParaRPr lang="zh-C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A0839175-83D9-4BDD-AB28-6E757A0A5252}" type="slidenum">
              <a:rPr lang="zh-CN"/>
            </a:fld>
            <a:endParaRPr lang="zh-CN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zh-C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zh-CN"/>
          </a:p>
        </p:txBody>
      </p:sp>
      <p:sp>
        <p:nvSpPr>
          <p:cNvPr id="4" name="Content Placeholder 3"/>
          <p:cNvSpPr>
            <a:spLocks noGrp="1"/>
          </p:cNvSpPr>
          <p:nvPr>
            <p:ph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zh-CN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C113C8B2-8EFE-4041-B91B-E4420AD5FB6F}" type="datetimeFigureOut">
              <a:rPr lang="zh-CN" altLang="en-US"/>
            </a:fld>
            <a:endParaRPr lang="zh-CN"/>
          </a:p>
        </p:txBody>
      </p:sp>
      <p:sp>
        <p:nvSpPr>
          <p:cNvPr id="6" name="Footer Placeholder 5"/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endParaRPr lang="zh-C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52C48393-184A-4D39-9374-3B008B44DFDA}" type="slidenum">
              <a:rPr lang="zh-CN"/>
            </a:fld>
            <a:endParaRPr lang="zh-CN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zh-C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lvl="0" indent="0">
              <a:buNone/>
              <a:defRPr sz="2400" b="1"/>
            </a:lvl1pPr>
            <a:lvl2pPr marL="457200" lvl="1" indent="0">
              <a:buNone/>
              <a:defRPr sz="2000" b="1"/>
            </a:lvl2pPr>
            <a:lvl3pPr marL="914400" lvl="2" indent="0">
              <a:buNone/>
              <a:defRPr sz="1800" b="1"/>
            </a:lvl3pPr>
            <a:lvl4pPr marL="1371600" lvl="3" indent="0">
              <a:buNone/>
              <a:defRPr sz="1600" b="1"/>
            </a:lvl4pPr>
            <a:lvl5pPr marL="1828800" lvl="4" indent="0">
              <a:buNone/>
              <a:defRPr sz="1600" b="1"/>
            </a:lvl5pPr>
            <a:lvl6pPr marL="2286000" lvl="5" indent="0">
              <a:buNone/>
              <a:defRPr sz="1600" b="1"/>
            </a:lvl6pPr>
            <a:lvl7pPr marL="2743200" lvl="6" indent="0">
              <a:buNone/>
              <a:defRPr sz="1600" b="1"/>
            </a:lvl7pPr>
            <a:lvl8pPr marL="3200400" lvl="7" indent="0">
              <a:buNone/>
              <a:defRPr sz="1600" b="1"/>
            </a:lvl8pPr>
            <a:lvl9pPr marL="3657600" lvl="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zh-CN"/>
          </a:p>
        </p:txBody>
      </p:sp>
      <p:sp>
        <p:nvSpPr>
          <p:cNvPr id="5" name="Text Placeholder 4"/>
          <p:cNvSpPr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lvl="0" indent="0">
              <a:buNone/>
              <a:defRPr sz="2400" b="1"/>
            </a:lvl1pPr>
            <a:lvl2pPr marL="457200" lvl="1" indent="0">
              <a:buNone/>
              <a:defRPr sz="2000" b="1"/>
            </a:lvl2pPr>
            <a:lvl3pPr marL="914400" lvl="2" indent="0">
              <a:buNone/>
              <a:defRPr sz="1800" b="1"/>
            </a:lvl3pPr>
            <a:lvl4pPr marL="1371600" lvl="3" indent="0">
              <a:buNone/>
              <a:defRPr sz="1600" b="1"/>
            </a:lvl4pPr>
            <a:lvl5pPr marL="1828800" lvl="4" indent="0">
              <a:buNone/>
              <a:defRPr sz="1600" b="1"/>
            </a:lvl5pPr>
            <a:lvl6pPr marL="2286000" lvl="5" indent="0">
              <a:buNone/>
              <a:defRPr sz="1600" b="1"/>
            </a:lvl6pPr>
            <a:lvl7pPr marL="2743200" lvl="6" indent="0">
              <a:buNone/>
              <a:defRPr sz="1600" b="1"/>
            </a:lvl7pPr>
            <a:lvl8pPr marL="3200400" lvl="7" indent="0">
              <a:buNone/>
              <a:defRPr sz="1600" b="1"/>
            </a:lvl8pPr>
            <a:lvl9pPr marL="3657600" lvl="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zh-CN"/>
          </a:p>
        </p:txBody>
      </p:sp>
      <p:sp>
        <p:nvSpPr>
          <p:cNvPr id="7" name="Date Placeholder 6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66C94935-D725-4723-9845-ED274424FE19}" type="datetimeFigureOut">
              <a:rPr lang="zh-CN" altLang="en-US"/>
            </a:fld>
            <a:endParaRPr lang="zh-CN"/>
          </a:p>
        </p:txBody>
      </p:sp>
      <p:sp>
        <p:nvSpPr>
          <p:cNvPr id="8" name="Footer Placeholder 7"/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endParaRPr lang="zh-C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5E76E30B-83D2-48ED-8034-5429465BE162}" type="slidenum">
              <a:rPr lang="zh-CN"/>
            </a:fld>
            <a:endParaRPr lang="zh-CN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zh-CN"/>
          </a:p>
        </p:txBody>
      </p:sp>
      <p:sp>
        <p:nvSpPr>
          <p:cNvPr id="3" name="Date Placeholder 2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77FE26AF-B79C-4C46-92ED-49A19EF33B28}" type="datetimeFigureOut">
              <a:rPr lang="zh-CN" altLang="en-US"/>
            </a:fld>
            <a:endParaRPr lang="zh-CN"/>
          </a:p>
        </p:txBody>
      </p:sp>
      <p:sp>
        <p:nvSpPr>
          <p:cNvPr id="4" name="Footer Placeholder 3"/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endParaRPr lang="zh-C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4D5FD847-E2BA-402F-9D39-C91C780D0A24}" type="slidenum">
              <a:rPr lang="zh-CN"/>
            </a:fld>
            <a:endParaRPr lang="zh-CN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C59D29F9-A99E-4D50-94EC-3A8CCED9DB26}" type="datetimeFigureOut">
              <a:rPr lang="zh-CN" altLang="en-US"/>
            </a:fld>
            <a:endParaRPr lang="zh-CN"/>
          </a:p>
        </p:txBody>
      </p:sp>
      <p:sp>
        <p:nvSpPr>
          <p:cNvPr id="3" name="Footer Placeholder 2"/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endParaRPr lang="zh-C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2B8F0749-B967-4D37-BC98-FCE8DEA68CBA}" type="slidenum">
              <a:rPr lang="zh-CN"/>
            </a:fld>
            <a:endParaRPr lang="zh-CN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 lvl="0">
              <a:defRPr sz="3200"/>
            </a:lvl1pPr>
          </a:lstStyle>
          <a:p>
            <a:r>
              <a:rPr lang="en-US"/>
              <a:t>Click to edit Master title style</a:t>
            </a:r>
            <a:endParaRPr lang="zh-C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lvl="0">
              <a:defRPr sz="3200"/>
            </a:lvl1pPr>
            <a:lvl2pPr lvl="1">
              <a:defRPr sz="2800"/>
            </a:lvl2pPr>
            <a:lvl3pPr lvl="2">
              <a:defRPr sz="2400"/>
            </a:lvl3pPr>
            <a:lvl4pPr lvl="3">
              <a:defRPr sz="2000"/>
            </a:lvl4pPr>
            <a:lvl5pPr lvl="4">
              <a:defRPr sz="2000"/>
            </a:lvl5pPr>
            <a:lvl6pPr lvl="5">
              <a:defRPr sz="2000"/>
            </a:lvl6pPr>
            <a:lvl7pPr lvl="6">
              <a:defRPr sz="2000"/>
            </a:lvl7pPr>
            <a:lvl8pPr lvl="7">
              <a:defRPr sz="2000"/>
            </a:lvl8pPr>
            <a:lvl9pPr lvl="8">
              <a:defRPr sz="20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zh-CN"/>
          </a:p>
        </p:txBody>
      </p:sp>
      <p:sp>
        <p:nvSpPr>
          <p:cNvPr id="4" name="Text Placeholder 3"/>
          <p:cNvSpPr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lvl="0" indent="0">
              <a:buNone/>
              <a:defRPr sz="1600"/>
            </a:lvl1pPr>
            <a:lvl2pPr marL="457200" lvl="1" indent="0">
              <a:buNone/>
              <a:defRPr sz="1400"/>
            </a:lvl2pPr>
            <a:lvl3pPr marL="914400" lvl="2" indent="0">
              <a:buNone/>
              <a:defRPr sz="1200"/>
            </a:lvl3pPr>
            <a:lvl4pPr marL="1371600" lvl="3" indent="0">
              <a:buNone/>
              <a:defRPr sz="1000"/>
            </a:lvl4pPr>
            <a:lvl5pPr marL="1828800" lvl="4" indent="0">
              <a:buNone/>
              <a:defRPr sz="1000"/>
            </a:lvl5pPr>
            <a:lvl6pPr marL="2286000" lvl="5" indent="0">
              <a:buNone/>
              <a:defRPr sz="1000"/>
            </a:lvl6pPr>
            <a:lvl7pPr marL="2743200" lvl="6" indent="0">
              <a:buNone/>
              <a:defRPr sz="1000"/>
            </a:lvl7pPr>
            <a:lvl8pPr marL="3200400" lvl="7" indent="0">
              <a:buNone/>
              <a:defRPr sz="1000"/>
            </a:lvl8pPr>
            <a:lvl9pPr marL="3657600" lvl="8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3DB2F494-3F3C-4253-BEAD-8FA9E0CBAE75}" type="datetimeFigureOut">
              <a:rPr lang="zh-CN" altLang="en-US"/>
            </a:fld>
            <a:endParaRPr lang="zh-CN"/>
          </a:p>
        </p:txBody>
      </p:sp>
      <p:sp>
        <p:nvSpPr>
          <p:cNvPr id="6" name="Footer Placeholder 5"/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endParaRPr lang="zh-C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BA8D3549-6FE6-4959-97E5-4006FE2F4A63}" type="slidenum">
              <a:rPr lang="zh-CN"/>
            </a:fld>
            <a:endParaRPr lang="zh-CN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 lvl="0">
              <a:defRPr sz="3200"/>
            </a:lvl1pPr>
          </a:lstStyle>
          <a:p>
            <a:r>
              <a:rPr lang="en-US"/>
              <a:t>Click to edit Master title style</a:t>
            </a:r>
            <a:endParaRPr lang="zh-C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lvl="0" indent="0">
              <a:buNone/>
              <a:defRPr sz="3200"/>
            </a:lvl1pPr>
            <a:lvl2pPr marL="457200" lvl="1" indent="0">
              <a:buNone/>
              <a:defRPr sz="2800"/>
            </a:lvl2pPr>
            <a:lvl3pPr marL="914400" lvl="2" indent="0">
              <a:buNone/>
              <a:defRPr sz="2400"/>
            </a:lvl3pPr>
            <a:lvl4pPr marL="1371600" lvl="3" indent="0">
              <a:buNone/>
              <a:defRPr sz="2000"/>
            </a:lvl4pPr>
            <a:lvl5pPr marL="1828800" lvl="4" indent="0">
              <a:buNone/>
              <a:defRPr sz="2000"/>
            </a:lvl5pPr>
            <a:lvl6pPr marL="2286000" lvl="5" indent="0">
              <a:buNone/>
              <a:defRPr sz="2000"/>
            </a:lvl6pPr>
            <a:lvl7pPr marL="2743200" lvl="6" indent="0">
              <a:buNone/>
              <a:defRPr sz="2000"/>
            </a:lvl7pPr>
            <a:lvl8pPr marL="3200400" lvl="7" indent="0">
              <a:buNone/>
              <a:defRPr sz="2000"/>
            </a:lvl8pPr>
            <a:lvl9pPr marL="3657600" lvl="8" indent="0">
              <a:buNone/>
              <a:defRPr sz="2000"/>
            </a:lvl9pPr>
          </a:lstStyle>
          <a:p>
            <a:endParaRPr lang="zh-CN"/>
          </a:p>
        </p:txBody>
      </p:sp>
      <p:sp>
        <p:nvSpPr>
          <p:cNvPr id="4" name="Text Placeholder 3"/>
          <p:cNvSpPr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lvl="0" indent="0">
              <a:buNone/>
              <a:defRPr sz="1600"/>
            </a:lvl1pPr>
            <a:lvl2pPr marL="457200" lvl="1" indent="0">
              <a:buNone/>
              <a:defRPr sz="1400"/>
            </a:lvl2pPr>
            <a:lvl3pPr marL="914400" lvl="2" indent="0">
              <a:buNone/>
              <a:defRPr sz="1200"/>
            </a:lvl3pPr>
            <a:lvl4pPr marL="1371600" lvl="3" indent="0">
              <a:buNone/>
              <a:defRPr sz="1000"/>
            </a:lvl4pPr>
            <a:lvl5pPr marL="1828800" lvl="4" indent="0">
              <a:buNone/>
              <a:defRPr sz="1000"/>
            </a:lvl5pPr>
            <a:lvl6pPr marL="2286000" lvl="5" indent="0">
              <a:buNone/>
              <a:defRPr sz="1000"/>
            </a:lvl6pPr>
            <a:lvl7pPr marL="2743200" lvl="6" indent="0">
              <a:buNone/>
              <a:defRPr sz="1000"/>
            </a:lvl7pPr>
            <a:lvl8pPr marL="3200400" lvl="7" indent="0">
              <a:buNone/>
              <a:defRPr sz="1000"/>
            </a:lvl8pPr>
            <a:lvl9pPr marL="3657600" lvl="8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4DB0BBED-2029-4221-B40B-D586F98BC2FA}" type="datetimeFigureOut">
              <a:rPr lang="zh-CN" altLang="en-US"/>
            </a:fld>
            <a:endParaRPr lang="zh-CN"/>
          </a:p>
        </p:txBody>
      </p:sp>
      <p:sp>
        <p:nvSpPr>
          <p:cNvPr id="6" name="Footer Placeholder 5"/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endParaRPr lang="zh-C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7E573EB4-B693-43DA-B70F-F349E21C9F5D}" type="slidenum">
              <a:rPr lang="zh-CN"/>
            </a:fld>
            <a:endParaRPr lang="zh-CN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5" Type="http://schemas.openxmlformats.org/officeDocument/2006/relationships/vmlDrawing" Target="../drawings/vmlDrawing1.vml"/><Relationship Id="rId14" Type="http://schemas.openxmlformats.org/officeDocument/2006/relationships/image" Target="../media/image1.png"/><Relationship Id="rId13" Type="http://schemas.openxmlformats.org/officeDocument/2006/relationships/oleObject" Target="../embeddings/oleObject1.bin"/><Relationship Id="rId12" Type="http://schemas.openxmlformats.org/officeDocument/2006/relationships/tags" Target="../tags/tag1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13" imgW="10791825" imgH="13963650" progId="TCLayout.ActiveDocument.1">
                  <p:embed/>
                </p:oleObj>
              </mc:Choice>
              <mc:Fallback>
                <p:oleObj name="think-cell Slide" r:id="rId13" imgW="10791825" imgH="13963650" progId="TCLayout.ActiveDocument.1">
                  <p:embed/>
                  <p:pic>
                    <p:nvPicPr>
                      <p:cNvPr id="0" name="Object 7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anchor="ctr">
            <a:normAutofit/>
          </a:bodyPr>
          <a:lstStyle/>
          <a:p>
            <a:r>
              <a:rPr lang="en-US"/>
              <a:t>Click to edit Master title style</a:t>
            </a:r>
            <a:endParaRPr lang="zh-CN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>
            <a:norm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zh-CN"/>
          </a:p>
        </p:txBody>
      </p:sp>
      <p:sp>
        <p:nvSpPr>
          <p:cNvPr id="5" name="Date Placeholder 3"/>
          <p:cNvSpPr>
            <a:spLocks noGrp="1"/>
          </p:cNvSpPr>
          <p:nvPr>
            <p:ph type="dt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anchor="ctr"/>
          <a:lstStyle>
            <a:lvl1pPr lvl="0"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91E2B8-4C2E-4982-83AA-C657EEFED54A}" type="datetimeFigureOut">
              <a:rPr lang="zh-CN" altLang="en-US"/>
            </a:fld>
            <a:endParaRPr lang="zh-CN"/>
          </a:p>
        </p:txBody>
      </p:sp>
      <p:sp>
        <p:nvSpPr>
          <p:cNvPr id="6" name="Footer Placeholder 4"/>
          <p:cNvSpPr>
            <a:spLocks noGrp="1"/>
          </p:cNvSpPr>
          <p:nvPr>
            <p:ph type="ft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anchor="ctr"/>
          <a:lstStyle>
            <a:lvl1pPr lvl="0"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anchor="ctr"/>
          <a:lstStyle>
            <a:lvl1pPr lvl="0"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E12B2F-EC26-4491-91B2-EBD3A5653FDE}" type="slidenum">
              <a:rPr lang="zh-CN"/>
            </a:fld>
            <a:endParaRPr 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lvl="0" algn="l" defTabSz="914400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Calibri Light" panose="020F0302020204030204"/>
          <a:ea typeface="等线 Light" panose="02010600030101010101" charset="-122"/>
        </a:defRPr>
      </a:lvl1pPr>
    </p:titleStyle>
    <p:bodyStyle>
      <a:lvl1pPr marL="228600" lvl="0" indent="-228600" algn="l" defTabSz="914400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alibri" panose="020F0502020204030204"/>
          <a:ea typeface="等线" panose="02010600030101010101" charset="-122"/>
        </a:defRPr>
      </a:lvl1pPr>
      <a:lvl2pPr marL="685800" lvl="1" indent="-228600" algn="l" defTabSz="914400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alibri" panose="020F0502020204030204"/>
          <a:ea typeface="等线" panose="02010600030101010101" charset="-122"/>
        </a:defRPr>
      </a:lvl2pPr>
      <a:lvl3pPr marL="1143000" lvl="2" indent="-228600" algn="l" defTabSz="914400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bri" panose="020F0502020204030204"/>
          <a:ea typeface="等线" panose="02010600030101010101" charset="-122"/>
        </a:defRPr>
      </a:lvl3pPr>
      <a:lvl4pPr marL="1600200" lvl="3" indent="-228600" algn="l" defTabSz="914400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/>
          <a:ea typeface="等线" panose="02010600030101010101" charset="-122"/>
        </a:defRPr>
      </a:lvl4pPr>
      <a:lvl5pPr marL="2057400" lvl="4" indent="-228600" algn="l" defTabSz="914400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/>
          <a:ea typeface="等线" panose="02010600030101010101" charset="-122"/>
        </a:defRPr>
      </a:lvl5pPr>
      <a:lvl6pPr marL="2514600" lvl="5" indent="-228600" algn="l" defTabSz="914400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/>
          <a:ea typeface="等线" panose="02010600030101010101" charset="-122"/>
        </a:defRPr>
      </a:lvl6pPr>
      <a:lvl7pPr marL="2971800" lvl="6" indent="-228600" algn="l" defTabSz="914400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/>
          <a:ea typeface="等线" panose="02010600030101010101" charset="-122"/>
        </a:defRPr>
      </a:lvl7pPr>
      <a:lvl8pPr marL="3429000" lvl="7" indent="-228600" algn="l" defTabSz="914400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/>
          <a:ea typeface="等线" panose="02010600030101010101" charset="-122"/>
        </a:defRPr>
      </a:lvl8pPr>
      <a:lvl9pPr marL="3886200" lvl="8" indent="-228600" algn="l" defTabSz="914400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/>
          <a:ea typeface="等线" panose="02010600030101010101" charset="-122"/>
        </a:defRPr>
      </a:lvl9pPr>
    </p:bodyStyle>
    <p:otherStyle>
      <a:lvl1pPr marL="0" lvl="0" algn="l" defTabSz="914400">
        <a:defRPr sz="1800" kern="1200">
          <a:solidFill>
            <a:schemeClr val="tx1"/>
          </a:solidFill>
          <a:latin typeface="Calibri" panose="020F0502020204030204"/>
          <a:ea typeface="等线" panose="02010600030101010101" charset="-122"/>
        </a:defRPr>
      </a:lvl1pPr>
      <a:lvl2pPr marL="457200" lvl="1" algn="l" defTabSz="914400">
        <a:defRPr sz="1800" kern="1200">
          <a:solidFill>
            <a:schemeClr val="tx1"/>
          </a:solidFill>
          <a:latin typeface="Calibri" panose="020F0502020204030204"/>
          <a:ea typeface="等线" panose="02010600030101010101" charset="-122"/>
        </a:defRPr>
      </a:lvl2pPr>
      <a:lvl3pPr marL="914400" lvl="2" algn="l" defTabSz="914400">
        <a:defRPr sz="1800" kern="1200">
          <a:solidFill>
            <a:schemeClr val="tx1"/>
          </a:solidFill>
          <a:latin typeface="Calibri" panose="020F0502020204030204"/>
          <a:ea typeface="等线" panose="02010600030101010101" charset="-122"/>
        </a:defRPr>
      </a:lvl3pPr>
      <a:lvl4pPr marL="1371600" lvl="3" algn="l" defTabSz="914400">
        <a:defRPr sz="1800" kern="1200">
          <a:solidFill>
            <a:schemeClr val="tx1"/>
          </a:solidFill>
          <a:latin typeface="Calibri" panose="020F0502020204030204"/>
          <a:ea typeface="等线" panose="02010600030101010101" charset="-122"/>
        </a:defRPr>
      </a:lvl4pPr>
      <a:lvl5pPr marL="1828800" lvl="4" algn="l" defTabSz="914400">
        <a:defRPr sz="1800" kern="1200">
          <a:solidFill>
            <a:schemeClr val="tx1"/>
          </a:solidFill>
          <a:latin typeface="Calibri" panose="020F0502020204030204"/>
          <a:ea typeface="等线" panose="02010600030101010101" charset="-122"/>
        </a:defRPr>
      </a:lvl5pPr>
      <a:lvl6pPr marL="2286000" lvl="5" algn="l" defTabSz="914400">
        <a:defRPr sz="1800" kern="1200">
          <a:solidFill>
            <a:schemeClr val="tx1"/>
          </a:solidFill>
          <a:latin typeface="Calibri" panose="020F0502020204030204"/>
          <a:ea typeface="等线" panose="02010600030101010101" charset="-122"/>
        </a:defRPr>
      </a:lvl6pPr>
      <a:lvl7pPr marL="2743200" lvl="6" algn="l" defTabSz="914400">
        <a:defRPr sz="1800" kern="1200">
          <a:solidFill>
            <a:schemeClr val="tx1"/>
          </a:solidFill>
          <a:latin typeface="Calibri" panose="020F0502020204030204"/>
          <a:ea typeface="等线" panose="02010600030101010101" charset="-122"/>
        </a:defRPr>
      </a:lvl7pPr>
      <a:lvl8pPr marL="3200400" lvl="7" algn="l" defTabSz="914400">
        <a:defRPr sz="1800" kern="1200">
          <a:solidFill>
            <a:schemeClr val="tx1"/>
          </a:solidFill>
          <a:latin typeface="Calibri" panose="020F0502020204030204"/>
          <a:ea typeface="等线" panose="02010600030101010101" charset="-122"/>
        </a:defRPr>
      </a:lvl8pPr>
      <a:lvl9pPr marL="3657600" lvl="8" algn="l" defTabSz="914400">
        <a:defRPr sz="1800" kern="1200">
          <a:solidFill>
            <a:schemeClr val="tx1"/>
          </a:solidFill>
          <a:latin typeface="Calibri" panose="020F0502020204030204"/>
          <a:ea typeface="等线" panose="02010600030101010101" charset="-122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sz="2800" b="1">
                <a:latin typeface="华文楷体" panose="02010600040101010101" charset="-122"/>
                <a:ea typeface="华文楷体" panose="02010600040101010101" charset="-122"/>
              </a:rPr>
              <a:t>魏伯繁</a:t>
            </a:r>
            <a:endParaRPr lang="zh-CN" sz="2800" b="1">
              <a:latin typeface="华文楷体" panose="02010600040101010101" charset="-122"/>
              <a:ea typeface="华文楷体" panose="02010600040101010101" charset="-122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32696" y="1441288"/>
            <a:ext cx="11402242" cy="5416712"/>
          </a:xfrm>
        </p:spPr>
        <p:txBody>
          <a:bodyPr anchor="t" anchorCtr="0"/>
          <a:lstStyle/>
          <a:p>
            <a:r>
              <a:rPr lang="zh-CN" sz="2400" b="1">
                <a:latin typeface="楷体" panose="02010609060101010101" charset="-122"/>
                <a:ea typeface="楷体" panose="02010609060101010101" charset="-122"/>
              </a:rPr>
              <a:t>本周总结</a:t>
            </a:r>
            <a:endParaRPr lang="en-US" sz="2400" b="1">
              <a:latin typeface="楷体" panose="02010609060101010101" charset="-122"/>
              <a:ea typeface="楷体" panose="02010609060101010101" charset="-122"/>
            </a:endParaRPr>
          </a:p>
          <a:p>
            <a:pPr lvl="1"/>
            <a:r>
              <a:rPr lang="zh-CN" sz="2000">
                <a:latin typeface="楷体" panose="02010609060101010101" charset="-122"/>
                <a:ea typeface="楷体" panose="02010609060101010101" charset="-122"/>
              </a:rPr>
              <a:t>阅读论文以及其实现源代码</a:t>
            </a:r>
            <a:endParaRPr lang="zh-CN" sz="2000">
              <a:latin typeface="楷体" panose="02010609060101010101" charset="-122"/>
              <a:ea typeface="楷体" panose="02010609060101010101" charset="-122"/>
            </a:endParaRPr>
          </a:p>
          <a:p>
            <a:pPr lvl="1"/>
            <a:r>
              <a:rPr lang="zh-CN" sz="2000">
                <a:latin typeface="楷体" panose="02010609060101010101" charset="-122"/>
                <a:ea typeface="楷体" panose="02010609060101010101" charset="-122"/>
              </a:rPr>
              <a:t>构想了三种可能的创新方向（初始</a:t>
            </a:r>
            <a:r>
              <a:rPr lang="en-US" altLang="zh-CN" sz="2000">
                <a:latin typeface="楷体" panose="02010609060101010101" charset="-122"/>
                <a:ea typeface="楷体" panose="02010609060101010101" charset="-122"/>
              </a:rPr>
              <a:t>alignment tuple</a:t>
            </a:r>
            <a:r>
              <a:rPr lang="zh-CN" altLang="en-US" sz="2000">
                <a:latin typeface="楷体" panose="02010609060101010101" charset="-122"/>
                <a:ea typeface="楷体" panose="02010609060101010101" charset="-122"/>
              </a:rPr>
              <a:t>选取改良</a:t>
            </a:r>
            <a:r>
              <a:rPr lang="en-US" altLang="zh-CN" sz="2000">
                <a:latin typeface="楷体" panose="02010609060101010101" charset="-122"/>
                <a:ea typeface="楷体" panose="02010609060101010101" charset="-122"/>
              </a:rPr>
              <a:t> &amp; </a:t>
            </a:r>
            <a:r>
              <a:rPr lang="zh-CN" altLang="en-US" sz="2000">
                <a:latin typeface="楷体" panose="02010609060101010101" charset="-122"/>
                <a:ea typeface="楷体" panose="02010609060101010101" charset="-122"/>
              </a:rPr>
              <a:t>训练过程中随机抽取</a:t>
            </a:r>
            <a:r>
              <a:rPr lang="en-US" altLang="zh-CN" sz="2000">
                <a:latin typeface="楷体" panose="02010609060101010101" charset="-122"/>
                <a:ea typeface="楷体" panose="02010609060101010101" charset="-122"/>
              </a:rPr>
              <a:t>alignment</a:t>
            </a:r>
            <a:r>
              <a:rPr lang="zh-CN" altLang="en-US" sz="2000">
                <a:latin typeface="楷体" panose="02010609060101010101" charset="-122"/>
                <a:ea typeface="楷体" panose="02010609060101010101" charset="-122"/>
              </a:rPr>
              <a:t>增加模型鲁棒性改良</a:t>
            </a:r>
            <a:r>
              <a:rPr lang="en-US" altLang="zh-CN" sz="2000">
                <a:latin typeface="楷体" panose="02010609060101010101" charset="-122"/>
                <a:ea typeface="楷体" panose="02010609060101010101" charset="-122"/>
              </a:rPr>
              <a:t> &amp; </a:t>
            </a:r>
            <a:r>
              <a:rPr lang="zh-CN" altLang="en-US" sz="2000">
                <a:latin typeface="楷体" panose="02010609060101010101" charset="-122"/>
                <a:ea typeface="楷体" panose="02010609060101010101" charset="-122"/>
              </a:rPr>
              <a:t>对齐过程中检验模型的正确性</a:t>
            </a:r>
            <a:r>
              <a:rPr lang="zh-CN" sz="2000">
                <a:latin typeface="楷体" panose="02010609060101010101" charset="-122"/>
                <a:ea typeface="楷体" panose="02010609060101010101" charset="-122"/>
              </a:rPr>
              <a:t>）</a:t>
            </a:r>
            <a:endParaRPr lang="zh-CN" sz="2000">
              <a:latin typeface="楷体" panose="02010609060101010101" charset="-122"/>
              <a:ea typeface="楷体" panose="02010609060101010101" charset="-122"/>
            </a:endParaRPr>
          </a:p>
          <a:p>
            <a:pPr lvl="1"/>
            <a:r>
              <a:rPr lang="zh-CN" sz="2000">
                <a:latin typeface="楷体" panose="02010609060101010101" charset="-122"/>
                <a:ea typeface="楷体" panose="02010609060101010101" charset="-122"/>
              </a:rPr>
              <a:t>构想了一种可能的研究方向：论文提及的两个重要的参数（</a:t>
            </a:r>
            <a:r>
              <a:rPr lang="en-US" altLang="zh-CN" sz="2000">
                <a:latin typeface="楷体" panose="02010609060101010101" charset="-122"/>
                <a:ea typeface="楷体" panose="02010609060101010101" charset="-122"/>
              </a:rPr>
              <a:t>time-constraint&amp;&amp;model-constarint</a:t>
            </a:r>
            <a:r>
              <a:rPr lang="zh-CN" sz="2000">
                <a:latin typeface="楷体" panose="02010609060101010101" charset="-122"/>
                <a:ea typeface="楷体" panose="02010609060101010101" charset="-122"/>
              </a:rPr>
              <a:t>）的自确定问题改良（原模型基于泊松分布简单确定且未应用）</a:t>
            </a:r>
            <a:endParaRPr lang="zh-CN" sz="2000">
              <a:latin typeface="楷体" panose="02010609060101010101" charset="-122"/>
              <a:ea typeface="楷体" panose="02010609060101010101" charset="-122"/>
            </a:endParaRPr>
          </a:p>
          <a:p>
            <a:endParaRPr lang="en-US" sz="2400" b="1">
              <a:latin typeface="楷体" panose="02010609060101010101" charset="-122"/>
              <a:ea typeface="楷体" panose="02010609060101010101" charset="-122"/>
            </a:endParaRPr>
          </a:p>
          <a:p>
            <a:r>
              <a:rPr lang="zh-CN" sz="2400" b="1">
                <a:latin typeface="楷体" panose="02010609060101010101" charset="-122"/>
                <a:ea typeface="楷体" panose="02010609060101010101" charset="-122"/>
              </a:rPr>
              <a:t>下周计划</a:t>
            </a:r>
            <a:endParaRPr lang="en-US" sz="2400" b="1">
              <a:latin typeface="楷体" panose="02010609060101010101" charset="-122"/>
              <a:ea typeface="楷体" panose="02010609060101010101" charset="-122"/>
            </a:endParaRPr>
          </a:p>
          <a:p>
            <a:pPr lvl="1"/>
            <a:r>
              <a:rPr lang="zh-CN" altLang="en-US" sz="2000">
                <a:latin typeface="楷体" panose="02010609060101010101" charset="-122"/>
                <a:ea typeface="楷体" panose="02010609060101010101" charset="-122"/>
              </a:rPr>
              <a:t>实验其中一种情况的可行性</a:t>
            </a:r>
            <a:endParaRPr lang="zh-CN" altLang="en-US" sz="2000">
              <a:latin typeface="楷体" panose="02010609060101010101" charset="-122"/>
              <a:ea typeface="楷体" panose="02010609060101010101" charset="-122"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UNDODONOTDELETE" val="0"/>
  <p:tag name="KSO_WPP_MARK_KEY" val="6a600b45-d45a-472f-8903-a8be016e15fc"/>
  <p:tag name="COMMONDATA" val="eyJoZGlkIjoiNTUwNjY2NjVmYmM4NjExZGE4MjFlNGViMDIyZDIwNWMifQ==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03</Words>
  <Application>WPS 演示</Application>
  <PresentationFormat>宽屏</PresentationFormat>
  <Paragraphs>10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4" baseType="lpstr">
      <vt:lpstr>Arial</vt:lpstr>
      <vt:lpstr>宋体</vt:lpstr>
      <vt:lpstr>Wingdings</vt:lpstr>
      <vt:lpstr>Calibri Light</vt:lpstr>
      <vt:lpstr>等线 Light</vt:lpstr>
      <vt:lpstr>Calibri</vt:lpstr>
      <vt:lpstr>等线</vt:lpstr>
      <vt:lpstr>华文楷体</vt:lpstr>
      <vt:lpstr>楷体</vt:lpstr>
      <vt:lpstr>微软雅黑</vt:lpstr>
      <vt:lpstr>Arial Unicode MS</vt:lpstr>
      <vt:lpstr>Office Theme</vt:lpstr>
      <vt:lpstr>TCLayout.ActiveDocument.1</vt:lpstr>
      <vt:lpstr>魏伯繁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uan zhang</dc:creator>
  <cp:lastModifiedBy>Westbrook</cp:lastModifiedBy>
  <cp:revision>443</cp:revision>
  <dcterms:created xsi:type="dcterms:W3CDTF">2022-03-31T10:00:00Z</dcterms:created>
  <dcterms:modified xsi:type="dcterms:W3CDTF">2023-03-07T12:57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13012</vt:lpwstr>
  </property>
  <property fmtid="{D5CDD505-2E9C-101B-9397-08002B2CF9AE}" pid="3" name="ICV">
    <vt:lpwstr>6EAEDDCFBC21453DB45868A39B763473</vt:lpwstr>
  </property>
</Properties>
</file>